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  <p:sldMasterId id="2147484548" r:id="rId8"/>
  </p:sldMasterIdLst>
  <p:notesMasterIdLst>
    <p:notesMasterId r:id="rId15"/>
  </p:notesMasterIdLst>
  <p:handoutMasterIdLst>
    <p:handoutMasterId r:id="rId16"/>
  </p:handoutMasterIdLst>
  <p:sldIdLst>
    <p:sldId id="332" r:id="rId9"/>
    <p:sldId id="341" r:id="rId10"/>
    <p:sldId id="342" r:id="rId11"/>
    <p:sldId id="343" r:id="rId12"/>
    <p:sldId id="344" r:id="rId13"/>
    <p:sldId id="340" r:id="rId14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32"/>
            <p14:sldId id="341"/>
            <p14:sldId id="342"/>
            <p14:sldId id="343"/>
            <p14:sldId id="344"/>
            <p14:sldId id="3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9E7E"/>
    <a:srgbClr val="E4E4E4"/>
    <a:srgbClr val="202020"/>
    <a:srgbClr val="01557E"/>
    <a:srgbClr val="FD7D7B"/>
    <a:srgbClr val="9078FC"/>
    <a:srgbClr val="F5F5F5"/>
    <a:srgbClr val="00FFFD"/>
    <a:srgbClr val="00FFA4"/>
    <a:srgbClr val="8383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421" autoAdjust="0"/>
    <p:restoredTop sz="96323" autoAdjust="0"/>
  </p:normalViewPr>
  <p:slideViewPr>
    <p:cSldViewPr>
      <p:cViewPr varScale="1">
        <p:scale>
          <a:sx n="61" d="100"/>
          <a:sy n="61" d="100"/>
        </p:scale>
        <p:origin x="592" y="56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8/9/2015 4:34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8/9/2015 4:34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 smtClean="0"/>
              <a:t>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8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here, second line her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Sub header her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635"/>
            <a:ext cx="12436475" cy="7003161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37287" y="2452402"/>
            <a:ext cx="7922679" cy="1679076"/>
          </a:xfrm>
        </p:spPr>
        <p:txBody>
          <a:bodyPr anchor="b">
            <a:noAutofit/>
          </a:bodyPr>
          <a:lstStyle>
            <a:lvl1pPr algn="r">
              <a:defRPr sz="5507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37287" y="4131475"/>
            <a:ext cx="7922679" cy="1118735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5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30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710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8697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2754635"/>
            <a:ext cx="8769049" cy="1862943"/>
          </a:xfrm>
        </p:spPr>
        <p:txBody>
          <a:bodyPr anchor="b"/>
          <a:lstStyle>
            <a:lvl1pPr algn="l">
              <a:defRPr sz="408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877528"/>
          </a:xfrm>
        </p:spPr>
        <p:txBody>
          <a:bodyPr anchor="t"/>
          <a:lstStyle>
            <a:lvl1pPr marL="0" indent="0" algn="l">
              <a:buNone/>
              <a:defRPr sz="20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40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0916" y="2203601"/>
            <a:ext cx="4267934" cy="395802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92034" y="2203601"/>
            <a:ext cx="4267933" cy="395802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533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296" y="2204003"/>
            <a:ext cx="4269553" cy="587734"/>
          </a:xfrm>
        </p:spPr>
        <p:txBody>
          <a:bodyPr anchor="b">
            <a:noAutofit/>
          </a:bodyPr>
          <a:lstStyle>
            <a:lvl1pPr marL="0" indent="0">
              <a:buNone/>
              <a:defRPr sz="2448" b="0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9296" y="2791737"/>
            <a:ext cx="4269553" cy="3369893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90416" y="2204003"/>
            <a:ext cx="4269548" cy="587734"/>
          </a:xfrm>
        </p:spPr>
        <p:txBody>
          <a:bodyPr anchor="b">
            <a:noAutofit/>
          </a:bodyPr>
          <a:lstStyle>
            <a:lvl1pPr marL="0" indent="0">
              <a:buNone/>
              <a:defRPr sz="2448" b="0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90417" y="2791737"/>
            <a:ext cx="4269547" cy="3369893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206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6" y="621735"/>
            <a:ext cx="8769049" cy="134709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5926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3950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6" y="1528437"/>
            <a:ext cx="3931819" cy="1303917"/>
          </a:xfrm>
        </p:spPr>
        <p:txBody>
          <a:bodyPr anchor="b">
            <a:normAutofit/>
          </a:bodyPr>
          <a:lstStyle>
            <a:lvl1pPr>
              <a:defRPr sz="204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5919" y="525175"/>
            <a:ext cx="4604047" cy="5636454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0916" y="2832354"/>
            <a:ext cx="3931819" cy="2635899"/>
          </a:xfrm>
        </p:spPr>
        <p:txBody>
          <a:bodyPr>
            <a:normAutofit/>
          </a:bodyPr>
          <a:lstStyle>
            <a:lvl1pPr marL="0" indent="0">
              <a:buNone/>
              <a:defRPr sz="1428"/>
            </a:lvl1pPr>
            <a:lvl2pPr marL="466159" indent="0">
              <a:buNone/>
              <a:defRPr sz="1428"/>
            </a:lvl2pPr>
            <a:lvl3pPr marL="932317" indent="0">
              <a:buNone/>
              <a:defRPr sz="1224"/>
            </a:lvl3pPr>
            <a:lvl4pPr marL="1398476" indent="0">
              <a:buNone/>
              <a:defRPr sz="1020"/>
            </a:lvl4pPr>
            <a:lvl5pPr marL="1864633" indent="0">
              <a:buNone/>
              <a:defRPr sz="1020"/>
            </a:lvl5pPr>
            <a:lvl6pPr marL="2330792" indent="0">
              <a:buNone/>
              <a:defRPr sz="1020"/>
            </a:lvl6pPr>
            <a:lvl7pPr marL="2796950" indent="0">
              <a:buNone/>
              <a:defRPr sz="1020"/>
            </a:lvl7pPr>
            <a:lvl8pPr marL="3263109" indent="0">
              <a:buNone/>
              <a:defRPr sz="1020"/>
            </a:lvl8pPr>
            <a:lvl9pPr marL="3729267" indent="0">
              <a:buNone/>
              <a:defRPr sz="102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279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4896168"/>
            <a:ext cx="8769048" cy="578020"/>
          </a:xfrm>
        </p:spPr>
        <p:txBody>
          <a:bodyPr anchor="b">
            <a:normAutofit/>
          </a:bodyPr>
          <a:lstStyle>
            <a:lvl1pPr algn="l">
              <a:defRPr sz="2448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0916" y="621736"/>
            <a:ext cx="8769049" cy="3922276"/>
          </a:xfrm>
        </p:spPr>
        <p:txBody>
          <a:bodyPr anchor="t">
            <a:normAutofit/>
          </a:bodyPr>
          <a:lstStyle>
            <a:lvl1pPr marL="0" indent="0" algn="ctr">
              <a:buNone/>
              <a:defRPr sz="1632"/>
            </a:lvl1pPr>
            <a:lvl2pPr marL="466298" indent="0">
              <a:buNone/>
              <a:defRPr sz="1632"/>
            </a:lvl2pPr>
            <a:lvl3pPr marL="932597" indent="0">
              <a:buNone/>
              <a:defRPr sz="1632"/>
            </a:lvl3pPr>
            <a:lvl4pPr marL="1398895" indent="0">
              <a:buNone/>
              <a:defRPr sz="1632"/>
            </a:lvl4pPr>
            <a:lvl5pPr marL="1865193" indent="0">
              <a:buNone/>
              <a:defRPr sz="1632"/>
            </a:lvl5pPr>
            <a:lvl6pPr marL="2331491" indent="0">
              <a:buNone/>
              <a:defRPr sz="1632"/>
            </a:lvl6pPr>
            <a:lvl7pPr marL="2797790" indent="0">
              <a:buNone/>
              <a:defRPr sz="1632"/>
            </a:lvl7pPr>
            <a:lvl8pPr marL="3264088" indent="0">
              <a:buNone/>
              <a:defRPr sz="1632"/>
            </a:lvl8pPr>
            <a:lvl9pPr marL="3730386" indent="0">
              <a:buNone/>
              <a:defRPr sz="1632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0917" y="5474188"/>
            <a:ext cx="8769048" cy="687442"/>
          </a:xfrm>
        </p:spPr>
        <p:txBody>
          <a:bodyPr>
            <a:normAutofit/>
          </a:bodyPr>
          <a:lstStyle>
            <a:lvl1pPr marL="0" indent="0">
              <a:buNone/>
              <a:defRPr sz="1224"/>
            </a:lvl1pPr>
            <a:lvl2pPr marL="466298" indent="0">
              <a:buNone/>
              <a:defRPr sz="1224"/>
            </a:lvl2pPr>
            <a:lvl3pPr marL="932597" indent="0">
              <a:buNone/>
              <a:defRPr sz="1020"/>
            </a:lvl3pPr>
            <a:lvl4pPr marL="1398895" indent="0">
              <a:buNone/>
              <a:defRPr sz="918"/>
            </a:lvl4pPr>
            <a:lvl5pPr marL="1865193" indent="0">
              <a:buNone/>
              <a:defRPr sz="918"/>
            </a:lvl5pPr>
            <a:lvl6pPr marL="2331491" indent="0">
              <a:buNone/>
              <a:defRPr sz="918"/>
            </a:lvl6pPr>
            <a:lvl7pPr marL="2797790" indent="0">
              <a:buNone/>
              <a:defRPr sz="918"/>
            </a:lvl7pPr>
            <a:lvl8pPr marL="3264088" indent="0">
              <a:buNone/>
              <a:defRPr sz="918"/>
            </a:lvl8pPr>
            <a:lvl9pPr marL="3730386" indent="0">
              <a:buNone/>
              <a:defRPr sz="918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8/9/20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533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621735"/>
            <a:ext cx="8769049" cy="3471357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559394"/>
            <a:ext cx="8769049" cy="1602236"/>
          </a:xfrm>
        </p:spPr>
        <p:txBody>
          <a:bodyPr anchor="ctr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402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009" y="621736"/>
            <a:ext cx="8256438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93533" y="3704508"/>
            <a:ext cx="7369391" cy="388585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3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559394"/>
            <a:ext cx="8769049" cy="1602236"/>
          </a:xfrm>
        </p:spPr>
        <p:txBody>
          <a:bodyPr anchor="ctr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52735" y="806113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071334" y="2944020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35087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1970449"/>
            <a:ext cx="8769049" cy="2647129"/>
          </a:xfrm>
        </p:spPr>
        <p:txBody>
          <a:bodyPr anchor="b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036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009" y="621736"/>
            <a:ext cx="8256438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0914" y="4093093"/>
            <a:ext cx="8769050" cy="52448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4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52735" y="806113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071334" y="2944020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263012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551" y="621736"/>
            <a:ext cx="8760414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0914" y="4093093"/>
            <a:ext cx="8769050" cy="52448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48">
                <a:solidFill>
                  <a:schemeClr val="accent1"/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21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678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27442" y="621735"/>
            <a:ext cx="1330906" cy="5355994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917" y="621735"/>
            <a:ext cx="7201721" cy="5355993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8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439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635"/>
            <a:ext cx="12436475" cy="7003161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0916" y="621735"/>
            <a:ext cx="8769049" cy="134709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6" y="2203601"/>
            <a:ext cx="8769049" cy="39580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49612" y="6161630"/>
            <a:ext cx="930225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8/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0916" y="6161630"/>
            <a:ext cx="6423892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2924" y="6161630"/>
            <a:ext cx="697041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8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839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3" r:id="rId15"/>
    <p:sldLayoutId id="2147484564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466298" rtl="0" eaLnBrk="1" latinLnBrk="0" hangingPunct="1">
        <a:spcBef>
          <a:spcPct val="0"/>
        </a:spcBef>
        <a:buNone/>
        <a:defRPr sz="3672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9724" indent="-349724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36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57735" indent="-291436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3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65746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2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32044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98342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64641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3030939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97237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963535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1426348" y="1516062"/>
            <a:ext cx="11196624" cy="1975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Apps en 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rgbClr val="7030A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JavaScript</a:t>
            </a:r>
          </a:p>
          <a:p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Para 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Windows 10</a:t>
            </a:r>
            <a:endParaRPr lang="es-ES" sz="6119" b="1" dirty="0">
              <a:ln w="19050">
                <a:solidFill>
                  <a:schemeClr val="tx2">
                    <a:lumMod val="50000"/>
                  </a:schemeClr>
                </a:solidFill>
                <a:prstDash val="solid"/>
              </a:ln>
              <a:solidFill>
                <a:schemeClr val="accent1">
                  <a:lumMod val="75000"/>
                </a:schemeClr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>
            <a:normAutofit/>
          </a:bodyPr>
          <a:lstStyle/>
          <a:p>
            <a:r>
              <a:rPr lang="es-ES" sz="5400" b="1" spc="0" dirty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Qué es una app?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557212" y="1910131"/>
            <a:ext cx="11887200" cy="4530471"/>
          </a:xfrm>
        </p:spPr>
        <p:txBody>
          <a:bodyPr>
            <a:normAutofit/>
          </a:bodyPr>
          <a:lstStyle/>
          <a:p>
            <a:r>
              <a:rPr lang="es-ES" sz="3200" dirty="0" smtClean="0"/>
              <a:t>Es un programa de ordenador.</a:t>
            </a:r>
          </a:p>
          <a:p>
            <a:endParaRPr lang="es-ES" sz="3200" dirty="0" smtClean="0"/>
          </a:p>
          <a:p>
            <a:r>
              <a:rPr lang="es-ES" sz="3200" dirty="0" smtClean="0"/>
              <a:t>Esta empaquetada y se distribuye</a:t>
            </a:r>
          </a:p>
          <a:p>
            <a:pPr marL="0" indent="0">
              <a:buNone/>
            </a:pPr>
            <a:r>
              <a:rPr lang="es-ES" sz="3200" dirty="0"/>
              <a:t> </a:t>
            </a:r>
            <a:r>
              <a:rPr lang="es-ES" sz="3200" dirty="0" smtClean="0"/>
              <a:t>  a través de una tienda.</a:t>
            </a:r>
          </a:p>
          <a:p>
            <a:endParaRPr lang="es-ES" sz="3200" dirty="0" smtClean="0"/>
          </a:p>
          <a:p>
            <a:r>
              <a:rPr lang="es-ES" sz="3200" dirty="0" smtClean="0"/>
              <a:t>Mayor seguridad: </a:t>
            </a:r>
            <a:r>
              <a:rPr lang="es-ES" sz="3200" dirty="0" err="1" smtClean="0"/>
              <a:t>sandbox</a:t>
            </a:r>
            <a:r>
              <a:rPr lang="es-ES" sz="3200" dirty="0" smtClean="0"/>
              <a:t>, permisos…</a:t>
            </a:r>
          </a:p>
          <a:p>
            <a:pPr marL="0" indent="0">
              <a:buNone/>
            </a:pPr>
            <a:endParaRPr lang="es-ES" sz="2800" dirty="0" smtClean="0"/>
          </a:p>
        </p:txBody>
      </p:sp>
    </p:spTree>
    <p:extLst>
      <p:ext uri="{BB962C8B-B14F-4D97-AF65-F5344CB8AC3E}">
        <p14:creationId xmlns:p14="http://schemas.microsoft.com/office/powerpoint/2010/main" val="161644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>
            <a:normAutofit/>
          </a:bodyPr>
          <a:lstStyle/>
          <a:p>
            <a:r>
              <a:rPr lang="es-ES" sz="5400" b="1" spc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Qué es una app para W10?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884237" y="1516062"/>
            <a:ext cx="11887200" cy="4530471"/>
          </a:xfrm>
        </p:spPr>
        <p:txBody>
          <a:bodyPr>
            <a:normAutofit/>
          </a:bodyPr>
          <a:lstStyle/>
          <a:p>
            <a:r>
              <a:rPr lang="es-ES" sz="3200" smtClean="0"/>
              <a:t>Puede estar escrita en C# / C++ / VB / JS</a:t>
            </a:r>
          </a:p>
          <a:p>
            <a:pPr marL="0" indent="0">
              <a:buNone/>
            </a:pPr>
            <a:endParaRPr lang="es-ES" sz="2800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237" y="2506662"/>
            <a:ext cx="8686800" cy="377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58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>
            <a:normAutofit fontScale="90000"/>
          </a:bodyPr>
          <a:lstStyle/>
          <a:p>
            <a:r>
              <a:rPr lang="es-ES" sz="5400" b="1" spc="0" dirty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Cómo puedo hacer una app?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884237" y="1516062"/>
            <a:ext cx="11887200" cy="4530471"/>
          </a:xfrm>
        </p:spPr>
        <p:txBody>
          <a:bodyPr>
            <a:normAutofit lnSpcReduction="10000"/>
          </a:bodyPr>
          <a:lstStyle/>
          <a:p>
            <a:r>
              <a:rPr lang="es-ES" sz="3200" dirty="0" err="1" smtClean="0"/>
              <a:t>Packaged</a:t>
            </a:r>
            <a:r>
              <a:rPr lang="es-ES" sz="3200" dirty="0" smtClean="0"/>
              <a:t> web apps</a:t>
            </a:r>
          </a:p>
          <a:p>
            <a:pPr lvl="1"/>
            <a:r>
              <a:rPr lang="en-US" sz="2996" dirty="0" smtClean="0"/>
              <a:t>El archive .</a:t>
            </a:r>
            <a:r>
              <a:rPr lang="en-US" sz="2996" dirty="0" err="1" smtClean="0"/>
              <a:t>appx</a:t>
            </a:r>
            <a:r>
              <a:rPr lang="en-US" sz="2996" dirty="0" smtClean="0"/>
              <a:t> </a:t>
            </a:r>
            <a:r>
              <a:rPr lang="en-US" sz="2996" dirty="0" err="1" smtClean="0"/>
              <a:t>contiene</a:t>
            </a:r>
            <a:r>
              <a:rPr lang="en-US" sz="2996" dirty="0" smtClean="0"/>
              <a:t> </a:t>
            </a:r>
            <a:r>
              <a:rPr lang="en-US" sz="2996" dirty="0" err="1" smtClean="0"/>
              <a:t>nuestros</a:t>
            </a:r>
            <a:r>
              <a:rPr lang="en-US" sz="2996" dirty="0" smtClean="0"/>
              <a:t> .html, .</a:t>
            </a:r>
            <a:r>
              <a:rPr lang="en-US" sz="2996" dirty="0" err="1" smtClean="0"/>
              <a:t>js</a:t>
            </a:r>
            <a:r>
              <a:rPr lang="en-US" sz="2996" dirty="0" smtClean="0"/>
              <a:t>, .</a:t>
            </a:r>
            <a:r>
              <a:rPr lang="en-US" sz="2996" dirty="0" err="1" smtClean="0"/>
              <a:t>css</a:t>
            </a:r>
            <a:r>
              <a:rPr lang="en-US" sz="2996" dirty="0" smtClean="0"/>
              <a:t> …</a:t>
            </a:r>
          </a:p>
          <a:p>
            <a:pPr lvl="1"/>
            <a:endParaRPr lang="en-US" sz="2996" dirty="0"/>
          </a:p>
          <a:p>
            <a:r>
              <a:rPr lang="en-US" sz="3200" dirty="0" smtClean="0"/>
              <a:t>Hosted web apps</a:t>
            </a:r>
          </a:p>
          <a:p>
            <a:pPr lvl="1"/>
            <a:r>
              <a:rPr lang="en-US" sz="2996" dirty="0" smtClean="0"/>
              <a:t>Los </a:t>
            </a:r>
            <a:r>
              <a:rPr lang="en-US" sz="2996" dirty="0" err="1" smtClean="0"/>
              <a:t>archivos</a:t>
            </a:r>
            <a:r>
              <a:rPr lang="en-US" sz="2996" dirty="0" smtClean="0"/>
              <a:t> </a:t>
            </a:r>
            <a:r>
              <a:rPr lang="en-US" sz="2996" dirty="0" err="1" smtClean="0"/>
              <a:t>estan</a:t>
            </a:r>
            <a:r>
              <a:rPr lang="en-US" sz="2996" dirty="0" smtClean="0"/>
              <a:t> </a:t>
            </a:r>
            <a:r>
              <a:rPr lang="en-US" sz="2996" dirty="0" err="1" smtClean="0"/>
              <a:t>en</a:t>
            </a:r>
            <a:r>
              <a:rPr lang="en-US" sz="2996" dirty="0" smtClean="0"/>
              <a:t> un </a:t>
            </a:r>
            <a:r>
              <a:rPr lang="en-US" sz="2996" dirty="0" err="1" smtClean="0"/>
              <a:t>servidor</a:t>
            </a:r>
            <a:r>
              <a:rPr lang="en-US" sz="2996" dirty="0" smtClean="0"/>
              <a:t> </a:t>
            </a:r>
            <a:r>
              <a:rPr lang="en-US" sz="2996" dirty="0" err="1" smtClean="0"/>
              <a:t>propio</a:t>
            </a:r>
            <a:endParaRPr lang="en-US" sz="2996" dirty="0" smtClean="0"/>
          </a:p>
          <a:p>
            <a:endParaRPr lang="en-US" sz="3200" dirty="0"/>
          </a:p>
          <a:p>
            <a:r>
              <a:rPr lang="en-US" sz="3200" dirty="0" smtClean="0"/>
              <a:t>Embedded web apps</a:t>
            </a:r>
            <a:endParaRPr lang="es-ES" sz="2800" dirty="0"/>
          </a:p>
          <a:p>
            <a:pPr lvl="1"/>
            <a:r>
              <a:rPr lang="en-US" sz="2996" dirty="0" err="1" smtClean="0"/>
              <a:t>Aplicación</a:t>
            </a:r>
            <a:r>
              <a:rPr lang="en-US" sz="2996" dirty="0" smtClean="0"/>
              <a:t> </a:t>
            </a:r>
            <a:r>
              <a:rPr lang="en-US" sz="2996" dirty="0" err="1" smtClean="0"/>
              <a:t>nativa</a:t>
            </a:r>
            <a:r>
              <a:rPr lang="en-US" sz="2996" dirty="0" smtClean="0"/>
              <a:t> con </a:t>
            </a:r>
            <a:r>
              <a:rPr lang="en-US" sz="2996" dirty="0" err="1" smtClean="0"/>
              <a:t>webviews</a:t>
            </a:r>
            <a:endParaRPr lang="es-ES" sz="2996" dirty="0" smtClean="0"/>
          </a:p>
        </p:txBody>
      </p:sp>
    </p:spTree>
    <p:extLst>
      <p:ext uri="{BB962C8B-B14F-4D97-AF65-F5344CB8AC3E}">
        <p14:creationId xmlns:p14="http://schemas.microsoft.com/office/powerpoint/2010/main" val="10483285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>
            <a:normAutofit fontScale="90000"/>
          </a:bodyPr>
          <a:lstStyle/>
          <a:p>
            <a:r>
              <a:rPr lang="es-ES" sz="5400" b="1" spc="0" dirty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Cómo son las apps JS en W10?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884237" y="1516062"/>
            <a:ext cx="11887200" cy="4530471"/>
          </a:xfrm>
        </p:spPr>
        <p:txBody>
          <a:bodyPr>
            <a:normAutofit/>
          </a:bodyPr>
          <a:lstStyle/>
          <a:p>
            <a:r>
              <a:rPr lang="en-US" sz="3200" dirty="0" err="1" smtClean="0"/>
              <a:t>Usan</a:t>
            </a:r>
            <a:r>
              <a:rPr lang="en-US" sz="3200" dirty="0" smtClean="0"/>
              <a:t> Microsoft Edge</a:t>
            </a:r>
          </a:p>
          <a:p>
            <a:pPr lvl="1"/>
            <a:r>
              <a:rPr lang="en-US" sz="2792" dirty="0" smtClean="0"/>
              <a:t>Render c</a:t>
            </a:r>
            <a:r>
              <a:rPr lang="en-US" sz="2792" dirty="0" smtClean="0"/>
              <a:t>ompatible con </a:t>
            </a:r>
            <a:r>
              <a:rPr lang="en-US" sz="2792" dirty="0" err="1" smtClean="0"/>
              <a:t>WebKit</a:t>
            </a:r>
            <a:endParaRPr lang="en-US" sz="2792" dirty="0"/>
          </a:p>
          <a:p>
            <a:pPr lvl="1"/>
            <a:r>
              <a:rPr lang="en-US" sz="2792" dirty="0" smtClean="0"/>
              <a:t>El motor de JS </a:t>
            </a:r>
            <a:r>
              <a:rPr lang="en-US" sz="2792" dirty="0" err="1" smtClean="0"/>
              <a:t>es</a:t>
            </a:r>
            <a:r>
              <a:rPr lang="en-US" sz="2792" dirty="0" smtClean="0"/>
              <a:t> </a:t>
            </a:r>
            <a:r>
              <a:rPr lang="en-US" sz="2792" dirty="0" err="1" smtClean="0"/>
              <a:t>Chackra</a:t>
            </a:r>
            <a:endParaRPr lang="en-US" sz="2792" dirty="0" smtClean="0"/>
          </a:p>
          <a:p>
            <a:pPr lvl="1"/>
            <a:endParaRPr lang="es-ES" sz="2792" dirty="0"/>
          </a:p>
          <a:p>
            <a:r>
              <a:rPr lang="en-US" sz="2996" dirty="0" err="1" smtClean="0"/>
              <a:t>Seguridad</a:t>
            </a:r>
            <a:r>
              <a:rPr lang="en-US" sz="2996" dirty="0" smtClean="0"/>
              <a:t> </a:t>
            </a:r>
            <a:r>
              <a:rPr lang="en-US" sz="2996" dirty="0" err="1" smtClean="0"/>
              <a:t>mediante</a:t>
            </a:r>
            <a:r>
              <a:rPr lang="en-US" sz="2996" dirty="0" smtClean="0"/>
              <a:t> Content Security Policy</a:t>
            </a:r>
          </a:p>
          <a:p>
            <a:endParaRPr lang="en-US" sz="2996" dirty="0"/>
          </a:p>
          <a:p>
            <a:r>
              <a:rPr lang="en-US" sz="2996" dirty="0" err="1" smtClean="0"/>
              <a:t>Acceso</a:t>
            </a:r>
            <a:r>
              <a:rPr lang="en-US" sz="2996" dirty="0" smtClean="0"/>
              <a:t> </a:t>
            </a:r>
            <a:r>
              <a:rPr lang="en-US" sz="2996" dirty="0" err="1" smtClean="0"/>
              <a:t>completo</a:t>
            </a:r>
            <a:r>
              <a:rPr lang="en-US" sz="2996" dirty="0" smtClean="0"/>
              <a:t> a las APIs de </a:t>
            </a:r>
            <a:r>
              <a:rPr lang="en-US" sz="2996" dirty="0" err="1" smtClean="0"/>
              <a:t>WinRT</a:t>
            </a:r>
            <a:endParaRPr lang="en-US" sz="2996" dirty="0" smtClean="0"/>
          </a:p>
        </p:txBody>
      </p:sp>
    </p:spTree>
    <p:extLst>
      <p:ext uri="{BB962C8B-B14F-4D97-AF65-F5344CB8AC3E}">
        <p14:creationId xmlns:p14="http://schemas.microsoft.com/office/powerpoint/2010/main" val="11842807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253226" y="4335462"/>
            <a:ext cx="3244221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3200" dirty="0">
                <a:latin typeface="Segoe UI" panose="020B0502040204020203" pitchFamily="34" charset="0"/>
              </a:rPr>
              <a:t>c</a:t>
            </a:r>
            <a:r>
              <a:rPr lang="es-ES" sz="3200" dirty="0" smtClean="0">
                <a:latin typeface="Segoe UI" panose="020B0502040204020203" pitchFamily="34" charset="0"/>
              </a:rPr>
              <a:t>lockwork.js.org</a:t>
            </a:r>
          </a:p>
          <a:p>
            <a:pPr algn="ctr"/>
            <a:endParaRPr lang="es-ES" sz="3200" dirty="0">
              <a:latin typeface="Segoe UI" panose="020B0502040204020203" pitchFamily="34" charset="0"/>
            </a:endParaRPr>
          </a:p>
          <a:p>
            <a:pPr algn="ctr"/>
            <a:r>
              <a:rPr lang="es-ES" sz="3200" dirty="0">
                <a:latin typeface="Segoe UI" panose="020B0502040204020203" pitchFamily="34" charset="0"/>
              </a:rPr>
              <a:t>s</a:t>
            </a:r>
            <a:r>
              <a:rPr lang="es-ES" sz="3200" dirty="0" smtClean="0">
                <a:latin typeface="Segoe UI" panose="020B0502040204020203" pitchFamily="34" charset="0"/>
              </a:rPr>
              <a:t>pritesheet.js.org</a:t>
            </a:r>
            <a:endParaRPr lang="en-US" sz="3200" dirty="0" smtClean="0">
              <a:latin typeface="Segoe UI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237" y="754062"/>
            <a:ext cx="31242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5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dcmitype/"/>
    <ds:schemaRef ds:uri="12a172fe-0250-434a-85cf-03b10810c5e5"/>
    <ds:schemaRef ds:uri="http://www.w3.org/XML/1998/namespace"/>
    <ds:schemaRef ds:uri="http://schemas.microsoft.com/office/infopath/2007/PartnerControls"/>
    <ds:schemaRef ds:uri="230e9df3-be65-4c73-a93b-d1236ebd677e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861</TotalTime>
  <Words>147</Words>
  <Application>Microsoft Office PowerPoint</Application>
  <PresentationFormat>Custom</PresentationFormat>
  <Paragraphs>3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0" baseType="lpstr">
      <vt:lpstr>Arial</vt:lpstr>
      <vt:lpstr>Avenir LT Pro 45 Book</vt:lpstr>
      <vt:lpstr>Consolas</vt:lpstr>
      <vt:lpstr>ＭＳ Ｐゴシック</vt:lpstr>
      <vt:lpstr>Segoe UI</vt:lpstr>
      <vt:lpstr>Segoe UI Light</vt:lpstr>
      <vt:lpstr>Trebuchet MS</vt:lpstr>
      <vt:lpstr>Wingdings 3</vt:lpstr>
      <vt:lpstr>5-30629_Build_Template_WHITE</vt:lpstr>
      <vt:lpstr>1_5-30629_Build_Template_DARK BLUE</vt:lpstr>
      <vt:lpstr>1_5-30629_Build_Template_WHITE</vt:lpstr>
      <vt:lpstr>3_5-30629_Build_Template_WHITE</vt:lpstr>
      <vt:lpstr>Facet</vt:lpstr>
      <vt:lpstr>think-cell Slide</vt:lpstr>
      <vt:lpstr>PowerPoint Presentation</vt:lpstr>
      <vt:lpstr>¿Qué es una app?</vt:lpstr>
      <vt:lpstr>¿Qué es una app para W10?</vt:lpstr>
      <vt:lpstr>¿Cómo puedo hacer una app?</vt:lpstr>
      <vt:lpstr>¿Cómo son las apps JS en W10?</vt:lpstr>
      <vt:lpstr>PowerPoint Presentation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106</cp:revision>
  <dcterms:created xsi:type="dcterms:W3CDTF">2015-04-29T17:53:46Z</dcterms:created>
  <dcterms:modified xsi:type="dcterms:W3CDTF">2015-08-09T14:4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